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1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7EF-4A0B-9668-978582F6C2D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7EF-4A0B-9668-978582F6C2D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7EF-4A0B-9668-978582F6C2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3450015"/>
        <c:axId val="573459135"/>
      </c:lineChart>
      <c:catAx>
        <c:axId val="573450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9135"/>
        <c:crosses val="autoZero"/>
        <c:auto val="1"/>
        <c:lblAlgn val="ctr"/>
        <c:lblOffset val="100"/>
        <c:noMultiLvlLbl val="0"/>
      </c:catAx>
      <c:valAx>
        <c:axId val="57345913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0015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D5B-4084-A83E-ECEE283B4C9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5B-4084-A83E-ECEE283B4C9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5B-4084-A83E-ECEE283B4C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3450015"/>
        <c:axId val="573459135"/>
      </c:lineChart>
      <c:catAx>
        <c:axId val="573450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9135"/>
        <c:crosses val="autoZero"/>
        <c:auto val="1"/>
        <c:lblAlgn val="ctr"/>
        <c:lblOffset val="100"/>
        <c:noMultiLvlLbl val="0"/>
      </c:catAx>
      <c:valAx>
        <c:axId val="57345913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0015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B3D210-5992-31FD-472A-800C99F7CA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49942D7-04CF-EEEC-1191-B239C7AAC1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9942D7-04CF-EEEC-1191-B239C7AAC1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B14D0704-AA0A-BED6-0CE4-227A28CE7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100% Stacked Line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D59C4BC-55AE-9477-24E3-020C088F3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FC5A1652-46DF-1731-6E54-4B7C8828A6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5216C1F-D0B3-1244-EF7F-B6D7E7623C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92287D9B-69B8-95AB-8399-B8D1B63D838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C0509FDC-CAC1-157C-7521-C5F38579707A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hart Placeholder 7">
            <a:extLst>
              <a:ext uri="{FF2B5EF4-FFF2-40B4-BE49-F238E27FC236}">
                <a16:creationId xmlns:a16="http://schemas.microsoft.com/office/drawing/2014/main" id="{5AD16E76-DDB9-C1FF-39D4-2DB3618AAF93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89399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5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100% Stacked 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20</cp:revision>
  <dcterms:created xsi:type="dcterms:W3CDTF">2025-07-09T10:57:17Z</dcterms:created>
  <dcterms:modified xsi:type="dcterms:W3CDTF">2025-10-22T10:00:34Z</dcterms:modified>
  <cp:category/>
</cp:coreProperties>
</file>